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Leaf 1</cx:pt>
          <cx:pt idx="1">Leaf 2</cx:pt>
          <cx:pt idx="2">Leaf 3</cx:pt>
          <cx:pt idx="3">Leaf 4</cx:pt>
          <cx:pt idx="4">Leaf 5</cx:pt>
          <cx:pt idx="5">Leaf 6</cx:pt>
          <cx:pt idx="6">Leaf 7</cx:pt>
          <cx:pt idx="7">Leaf 8</cx:pt>
          <cx:pt idx="8">Leaf 9</cx:pt>
          <cx:pt idx="9">Leaf 10</cx:pt>
          <cx:pt idx="10">Leaf 11</cx:pt>
          <cx:pt idx="11">Leaf 12</cx:pt>
          <cx:pt idx="12">Leaf 13</cx:pt>
          <cx:pt idx="13">Leaf 14</cx:pt>
          <cx:pt idx="14">Leaf 15</cx:pt>
          <cx:pt idx="15">Leaf 16</cx:pt>
        </cx:lvl>
        <cx:lvl ptCount="16">
          <cx:pt idx="0">Stem 1</cx:pt>
          <cx:pt idx="1">Stem 1</cx:pt>
          <cx:pt idx="2">Stem 1</cx:pt>
          <cx:pt idx="3">Stem 2</cx:pt>
          <cx:pt idx="4">Stem 2</cx:pt>
          <cx:pt idx="5">Stem 2</cx:pt>
          <cx:pt idx="6">Stem 2</cx:pt>
          <cx:pt idx="7">Stem 3</cx:pt>
          <cx:pt idx="8">Stem 3</cx:pt>
          <cx:pt idx="9">Stem 4</cx:pt>
          <cx:pt idx="10">Stem 4</cx:pt>
          <cx:pt idx="11">Stem 5</cx:pt>
          <cx:pt idx="12">Stem 5</cx:pt>
          <cx:pt idx="13">Stem 6</cx:pt>
          <cx:pt idx="14">Stem 6</cx:pt>
          <cx:pt idx="15">Stem 6</cx:pt>
        </cx:lvl>
        <cx:lvl ptCount="16">
          <cx:pt idx="0">Branch 1</cx:pt>
          <cx:pt idx="1">Branch 1</cx:pt>
          <cx:pt idx="2">Branch 1</cx:pt>
          <cx:pt idx="3">Branch 1</cx:pt>
          <cx:pt idx="4">Branch 1</cx:pt>
          <cx:pt idx="5">Branch 1</cx:pt>
          <cx:pt idx="6">Branch 1</cx:pt>
          <cx:pt idx="7">Branch 2</cx:pt>
          <cx:pt idx="8">Branch 2</cx:pt>
          <cx:pt idx="9">Branch 2</cx:pt>
          <cx:pt idx="10">Branch 2</cx:pt>
          <cx:pt idx="11">Branch 3</cx:pt>
          <cx:pt idx="12">Branch 3</cx:pt>
          <cx:pt idx="13">Branch 3</cx:pt>
          <cx:pt idx="14">Branch 3</cx:pt>
          <cx:pt idx="15">Branch 3</cx:pt>
        </cx:lvl>
      </cx:strDim>
      <cx:numDim type="size">
        <cx:f>Sheet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9FDFBC22-5235-43E5-BA26-2F269FA6EC56}">
          <cx:tx>
            <cx:txData>
              <cx:f>Sheet1!$D$1</cx:f>
              <cx:v>Series1</cx:v>
            </cx:txData>
          </cx:tx>
          <cx:dataLabels pos="in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/>
                </a:pPr>
                <a:endParaRPr lang="en-US" sz="1400" b="0" i="0" u="none" strike="noStrike" baseline="0">
                  <a:solidFill>
                    <a:prstClr val="white"/>
                  </a:solidFill>
                  <a:latin typeface="Arial"/>
                </a:endParaRPr>
              </a:p>
            </cx:txPr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6" Type="http://schemas.openxmlformats.org/officeDocument/2006/relationships/image" Target="../media/image3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4DF12-4F40-2B0F-78A9-571716B20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5612EC-2600-B51B-F9F0-4813C823CD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5612EC-2600-B51B-F9F0-4813C823C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2CAB48C-B821-E011-C51D-814B27B31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Treemap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C741EC9-358C-0755-1A56-F5B3A6790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BBF48C0-B050-7FBA-48BD-44EDA935E5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F7B95F0-2090-BA31-512A-5D9659B45E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C327CE7A-E2B3-8626-A000-E7F591C3DC32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11083925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C327CE7A-E2B3-8626-A000-E7F591C3DC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11083925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86717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5</TotalTime>
  <Words>13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ree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7</cp:revision>
  <dcterms:created xsi:type="dcterms:W3CDTF">2025-07-09T10:57:17Z</dcterms:created>
  <dcterms:modified xsi:type="dcterms:W3CDTF">2025-10-22T09:50:27Z</dcterms:modified>
  <cp:category/>
</cp:coreProperties>
</file>